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3"/>
  </p:notesMasterIdLst>
  <p:handoutMasterIdLst>
    <p:handoutMasterId r:id="rId4"/>
  </p:handoutMasterIdLst>
  <p:sldIdLst>
    <p:sldId id="321" r:id="rId2"/>
  </p:sldIdLst>
  <p:sldSz cx="9144000" cy="6858000" type="screen4x3"/>
  <p:notesSz cx="6797675" cy="9926638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26" y="120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dirty="0"/>
              <a:t>Encabezado</a:t>
            </a:r>
            <a:endParaRPr lang="es-E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2/06/2020</a:t>
            </a:fld>
            <a:endParaRPr lang="es-E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dirty="0"/>
              <a:t>Pie de página</a:t>
            </a:r>
            <a:endParaRPr lang="es-E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dirty="0"/>
              <a:t>Encabezado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2/06/2020</a:t>
            </a:fld>
            <a:endParaRPr lang="es-E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6175" y="915988"/>
            <a:ext cx="4505325" cy="3379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0891" y="4556490"/>
            <a:ext cx="5935893" cy="46256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dirty="0"/>
              <a:t>Pie de página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060845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797870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630471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8628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13835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08731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23380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730256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8797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733184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0587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June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36783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3660081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June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130026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61362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29481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896108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518797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945043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82755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163945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128619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June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D02DBAE3-0C80-4670-AF43-E3362062F69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28376858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94294"/>
            <a:ext cx="7991475" cy="4017588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4"/>
              <a:ext cx="3889375" cy="388982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VALOR Y VENTAJA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</a:rPr>
                <a:t>DESCRIPCIÓN</a:t>
              </a:r>
              <a:endParaRPr kumimoji="0" lang="es-E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1446550"/>
          </a:xfrm>
        </p:spPr>
        <p:txBody>
          <a:bodyPr/>
          <a:lstStyle/>
          <a:p>
            <a:r>
              <a:rPr lang="en-US" sz="3200" dirty="0"/>
              <a:t>Actualice las HMI </a:t>
            </a:r>
            <a:r>
              <a:rPr lang="en-US" sz="3200" dirty="0" err="1"/>
              <a:t>obsoleto</a:t>
            </a:r>
            <a:r>
              <a:rPr lang="en-US" sz="3200" dirty="0"/>
              <a:t> con Siemens TP700</a:t>
            </a:r>
            <a:br>
              <a:rPr dirty="0"/>
            </a:br>
            <a:endParaRPr lang="es-ES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38" y="1462964"/>
            <a:ext cx="7997825" cy="307975"/>
          </a:xfrm>
        </p:spPr>
        <p:txBody>
          <a:bodyPr/>
          <a:lstStyle/>
          <a:p>
            <a:r>
              <a:rPr dirty="0"/>
              <a:t>Nuevo panel de visualización</a:t>
            </a:r>
            <a:endParaRPr lang="es-ES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800" kern="0" dirty="0"/>
              <a:t>Valor: Obsolescencia.</a:t>
            </a:r>
          </a:p>
          <a:p>
            <a:r>
              <a:rPr lang="en-US" sz="800" kern="0" dirty="0"/>
              <a:t>Equipo: Packing Corcelles.</a:t>
            </a:r>
            <a:endParaRPr lang="es-ES" sz="800" kern="0" dirty="0"/>
          </a:p>
          <a:p>
            <a:r>
              <a:rPr lang="en-US" sz="800" kern="0" dirty="0"/>
              <a:t>Código de catálogo: CLC-005.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n-US" sz="1200" b="1" dirty="0"/>
              <a:t>Productividad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Asegura la productividad de la máquina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s-ES" sz="1200" dirty="0"/>
          </a:p>
          <a:p>
            <a:pPr>
              <a:buClr>
                <a:schemeClr val="accent4"/>
              </a:buClr>
            </a:pPr>
            <a:r>
              <a:rPr lang="en-US" sz="1200" b="1" dirty="0"/>
              <a:t>Actualización permanent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Material de última generación y repuestos disponible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Optimización de la ergonomía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Disponibilidad de nuevas funciones adicionales como opción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n-US" sz="1200" dirty="0"/>
              <a:t>Remplazo y actualización con las unidades de última generación, que cuentan con las mismas funciones que el sistema existente.</a:t>
            </a:r>
          </a:p>
        </p:txBody>
      </p:sp>
      <p:pic>
        <p:nvPicPr>
          <p:cNvPr id="16" name="Picture 19">
            <a:extLst>
              <a:ext uri="{FF2B5EF4-FFF2-40B4-BE49-F238E27FC236}">
                <a16:creationId xmlns:a16="http://schemas.microsoft.com/office/drawing/2014/main" id="{D085F9A7-5CCF-465C-B116-152A426F87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350" y="4216966"/>
            <a:ext cx="1523334" cy="152990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7E6E6"/>
                  </a:outerShdw>
                </a:effectLst>
              </a14:hiddenEffects>
            </a:ext>
          </a:extLst>
        </p:spPr>
      </p:pic>
      <p:pic>
        <p:nvPicPr>
          <p:cNvPr id="17" name="Picture 25" descr="IMG_1647">
            <a:extLst>
              <a:ext uri="{FF2B5EF4-FFF2-40B4-BE49-F238E27FC236}">
                <a16:creationId xmlns:a16="http://schemas.microsoft.com/office/drawing/2014/main" id="{AAB9E0F5-8103-4470-BEBA-EE3CC7EE8C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790"/>
          <a:stretch>
            <a:fillRect/>
          </a:stretch>
        </p:blipFill>
        <p:spPr bwMode="auto">
          <a:xfrm>
            <a:off x="5031656" y="4216966"/>
            <a:ext cx="1627935" cy="153249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hteck 13">
            <a:extLst>
              <a:ext uri="{FF2B5EF4-FFF2-40B4-BE49-F238E27FC236}">
                <a16:creationId xmlns:a16="http://schemas.microsoft.com/office/drawing/2014/main" id="{E1CCA77F-D1E4-47D1-B633-D8475FD179AE}"/>
              </a:ext>
            </a:extLst>
          </p:cNvPr>
          <p:cNvSpPr/>
          <p:nvPr/>
        </p:nvSpPr>
        <p:spPr bwMode="gray">
          <a:xfrm>
            <a:off x="5512008" y="3934811"/>
            <a:ext cx="667230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en-GB" sz="1200" b="1" dirty="0">
                <a:solidFill>
                  <a:srgbClr val="FFFFFF"/>
                </a:solidFill>
              </a:rPr>
              <a:t>Antes</a:t>
            </a:r>
          </a:p>
        </p:txBody>
      </p:sp>
      <p:sp>
        <p:nvSpPr>
          <p:cNvPr id="19" name="Rechteck 13">
            <a:extLst>
              <a:ext uri="{FF2B5EF4-FFF2-40B4-BE49-F238E27FC236}">
                <a16:creationId xmlns:a16="http://schemas.microsoft.com/office/drawing/2014/main" id="{4EA5462B-0910-44FC-8FE0-7C4642E80D4B}"/>
              </a:ext>
            </a:extLst>
          </p:cNvPr>
          <p:cNvSpPr/>
          <p:nvPr/>
        </p:nvSpPr>
        <p:spPr bwMode="gray">
          <a:xfrm>
            <a:off x="7137400" y="3934810"/>
            <a:ext cx="945232" cy="171523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en-GB" sz="1200" b="1" dirty="0">
                <a:solidFill>
                  <a:srgbClr val="FFFFFF"/>
                </a:solidFill>
              </a:rPr>
              <a:t>Después</a:t>
            </a:r>
          </a:p>
        </p:txBody>
      </p:sp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GeboCermex_PPT_template_long</Template>
  <TotalTime>3</TotalTime>
  <Words>84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NewSidel_Template_4x3_with add layouts</vt:lpstr>
      <vt:lpstr>think-cell Folie</vt:lpstr>
      <vt:lpstr>Actualice las HMI obsoleto con Siemens TP700 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ghtweight funnel</dc:title>
  <dc:creator>Claudio POMO</dc:creator>
  <cp:lastModifiedBy>Sorega, Dan</cp:lastModifiedBy>
  <cp:revision>18</cp:revision>
  <cp:lastPrinted>2018-03-12T16:26:21Z</cp:lastPrinted>
  <dcterms:created xsi:type="dcterms:W3CDTF">2018-01-25T16:00:18Z</dcterms:created>
  <dcterms:modified xsi:type="dcterms:W3CDTF">2020-06-22T14:2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6-22T14:27:23.9250868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3-22T17:11:26.8219868+01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3-22T17:11:26.8219868+01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